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6"/>
  </p:notesMasterIdLst>
  <p:handoutMasterIdLst>
    <p:handoutMasterId r:id="rId27"/>
  </p:handoutMasterIdLst>
  <p:sldIdLst>
    <p:sldId id="1349" r:id="rId2"/>
    <p:sldId id="1381" r:id="rId3"/>
    <p:sldId id="1384" r:id="rId4"/>
    <p:sldId id="1377" r:id="rId5"/>
    <p:sldId id="1385" r:id="rId6"/>
    <p:sldId id="1386" r:id="rId7"/>
    <p:sldId id="1355" r:id="rId8"/>
    <p:sldId id="1356" r:id="rId9"/>
    <p:sldId id="1390" r:id="rId10"/>
    <p:sldId id="1391" r:id="rId11"/>
    <p:sldId id="1359" r:id="rId12"/>
    <p:sldId id="1360" r:id="rId13"/>
    <p:sldId id="1397" r:id="rId14"/>
    <p:sldId id="1361" r:id="rId15"/>
    <p:sldId id="1378" r:id="rId16"/>
    <p:sldId id="1362" r:id="rId17"/>
    <p:sldId id="1363" r:id="rId18"/>
    <p:sldId id="1364" r:id="rId19"/>
    <p:sldId id="1392" r:id="rId20"/>
    <p:sldId id="1366" r:id="rId21"/>
    <p:sldId id="1379" r:id="rId22"/>
    <p:sldId id="1393" r:id="rId23"/>
    <p:sldId id="1394" r:id="rId24"/>
    <p:sldId id="1396" r:id="rId25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00" autoAdjust="0"/>
    <p:restoredTop sz="87209" autoAdjust="0"/>
  </p:normalViewPr>
  <p:slideViewPr>
    <p:cSldViewPr snapToGrid="0" showGuides="1">
      <p:cViewPr>
        <p:scale>
          <a:sx n="99" d="100"/>
          <a:sy n="99" d="100"/>
        </p:scale>
        <p:origin x="-1194" y="-30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867754" y="1769248"/>
          <a:ext cx="1702809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09745" y="1811239"/>
        <a:ext cx="1618827" cy="1349700"/>
      </dsp:txXfrm>
    </dsp:sp>
    <dsp:sp modelId="{F827665D-69F4-4582-BEB2-A5794CA30A06}">
      <dsp:nvSpPr>
        <dsp:cNvPr id="0" name=""/>
        <dsp:cNvSpPr/>
      </dsp:nvSpPr>
      <dsp:spPr>
        <a:xfrm>
          <a:off x="1846924" y="2298318"/>
          <a:ext cx="2302074" cy="230207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071605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094509" y="3225835"/>
        <a:ext cx="1920683" cy="736200"/>
      </dsp:txXfrm>
    </dsp:sp>
    <dsp:sp modelId="{86DDBEE2-8B91-44ED-B629-4631F9E18A12}">
      <dsp:nvSpPr>
        <dsp:cNvPr id="0" name=""/>
        <dsp:cNvSpPr/>
      </dsp:nvSpPr>
      <dsp:spPr>
        <a:xfrm>
          <a:off x="2967386" y="1769248"/>
          <a:ext cx="2906036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009377" y="2202243"/>
        <a:ext cx="2822054" cy="1349700"/>
      </dsp:txXfrm>
    </dsp:sp>
    <dsp:sp modelId="{CDCAD455-EB6B-402B-B181-8BA63311810D}">
      <dsp:nvSpPr>
        <dsp:cNvPr id="0" name=""/>
        <dsp:cNvSpPr/>
      </dsp:nvSpPr>
      <dsp:spPr>
        <a:xfrm>
          <a:off x="4491083" y="654750"/>
          <a:ext cx="2728957" cy="2728957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743604" y="1378244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766508" y="1401148"/>
        <a:ext cx="1920683" cy="736200"/>
      </dsp:txXfrm>
    </dsp:sp>
    <dsp:sp modelId="{F32D151A-7816-4D8F-AF44-C36440897AD6}">
      <dsp:nvSpPr>
        <dsp:cNvPr id="0" name=""/>
        <dsp:cNvSpPr/>
      </dsp:nvSpPr>
      <dsp:spPr>
        <a:xfrm>
          <a:off x="6287919" y="1769248"/>
          <a:ext cx="1859750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329910" y="1811239"/>
        <a:ext cx="1775768" cy="1349700"/>
      </dsp:txXfrm>
    </dsp:sp>
    <dsp:sp modelId="{92BF8A00-5694-4464-90D9-1154141BC261}">
      <dsp:nvSpPr>
        <dsp:cNvPr id="0" name=""/>
        <dsp:cNvSpPr/>
      </dsp:nvSpPr>
      <dsp:spPr>
        <a:xfrm>
          <a:off x="6448272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71176" y="3225835"/>
        <a:ext cx="1920683" cy="736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626811" y="844132"/>
          <a:ext cx="2307103" cy="294397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94384" y="911705"/>
        <a:ext cx="2171957" cy="2177976"/>
      </dsp:txXfrm>
    </dsp:sp>
    <dsp:sp modelId="{F827665D-69F4-4582-BEB2-A5794CA30A06}">
      <dsp:nvSpPr>
        <dsp:cNvPr id="0" name=""/>
        <dsp:cNvSpPr/>
      </dsp:nvSpPr>
      <dsp:spPr>
        <a:xfrm>
          <a:off x="1494833" y="2424303"/>
          <a:ext cx="2747285" cy="2250521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888607" y="3355854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12007" y="3379254"/>
        <a:ext cx="1962231" cy="752125"/>
      </dsp:txXfrm>
    </dsp:sp>
    <dsp:sp modelId="{86DDBEE2-8B91-44ED-B629-4631F9E18A12}">
      <dsp:nvSpPr>
        <dsp:cNvPr id="0" name=""/>
        <dsp:cNvSpPr/>
      </dsp:nvSpPr>
      <dsp:spPr>
        <a:xfrm>
          <a:off x="3292994" y="577800"/>
          <a:ext cx="2590708" cy="3569101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368873" y="1418486"/>
        <a:ext cx="2438950" cy="2652535"/>
      </dsp:txXfrm>
    </dsp:sp>
    <dsp:sp modelId="{CDCAD455-EB6B-402B-B181-8BA63311810D}">
      <dsp:nvSpPr>
        <dsp:cNvPr id="0" name=""/>
        <dsp:cNvSpPr/>
      </dsp:nvSpPr>
      <dsp:spPr>
        <a:xfrm>
          <a:off x="3819008" y="-192857"/>
          <a:ext cx="3676924" cy="2800499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655417" y="491815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678817" y="515215"/>
        <a:ext cx="1962231" cy="752125"/>
      </dsp:txXfrm>
    </dsp:sp>
    <dsp:sp modelId="{F32D151A-7816-4D8F-AF44-C36440897AD6}">
      <dsp:nvSpPr>
        <dsp:cNvPr id="0" name=""/>
        <dsp:cNvSpPr/>
      </dsp:nvSpPr>
      <dsp:spPr>
        <a:xfrm>
          <a:off x="6077406" y="393900"/>
          <a:ext cx="2360850" cy="384443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46553" y="463047"/>
        <a:ext cx="2222556" cy="2882335"/>
      </dsp:txXfrm>
    </dsp:sp>
    <dsp:sp modelId="{92BF8A00-5694-4464-90D9-1154141BC261}">
      <dsp:nvSpPr>
        <dsp:cNvPr id="0" name=""/>
        <dsp:cNvSpPr/>
      </dsp:nvSpPr>
      <dsp:spPr>
        <a:xfrm>
          <a:off x="6445064" y="3423275"/>
          <a:ext cx="2063315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68464" y="3446675"/>
        <a:ext cx="2016515" cy="752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2/20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2/20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pn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Скругленный прямоугольник 127"/>
          <p:cNvSpPr/>
          <p:nvPr/>
        </p:nvSpPr>
        <p:spPr>
          <a:xfrm>
            <a:off x="7209322" y="3849023"/>
            <a:ext cx="5045381" cy="3535081"/>
          </a:xfrm>
          <a:prstGeom prst="roundRect">
            <a:avLst>
              <a:gd name="adj" fmla="val 1988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Приоритетные направления гарантийной поддержки Корпорации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51350" y="1439247"/>
            <a:ext cx="2213174" cy="923676"/>
            <a:chOff x="704616" y="8731785"/>
            <a:chExt cx="1548850" cy="630883"/>
          </a:xfrm>
        </p:grpSpPr>
        <p:sp>
          <p:nvSpPr>
            <p:cNvPr id="29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0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Фокус поддержки</a:t>
              </a:r>
              <a:endParaRPr lang="ru-RU" sz="1800" b="1" kern="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2564525" y="1438257"/>
            <a:ext cx="9690178" cy="92565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 </a:t>
            </a:r>
            <a:r>
              <a:rPr lang="ru-RU" sz="1600" dirty="0"/>
              <a:t>для обеспечения кредитов предприятиям, зарегистрированным в республике </a:t>
            </a:r>
            <a:r>
              <a:rPr lang="ru-RU" sz="1600" dirty="0" smtClean="0"/>
              <a:t>Крым и </a:t>
            </a:r>
            <a:r>
              <a:rPr lang="ru-RU" sz="1600" dirty="0"/>
              <a:t>/ или городе федерального значения </a:t>
            </a:r>
            <a:r>
              <a:rPr lang="ru-RU" sz="1600" dirty="0" smtClean="0"/>
              <a:t>Севастополь</a:t>
            </a:r>
            <a:endParaRPr lang="ru-RU" sz="16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</a:t>
            </a:r>
            <a:r>
              <a:rPr lang="ru-RU" sz="1600" dirty="0"/>
              <a:t>, выдаваемая совместно с поручительством </a:t>
            </a:r>
            <a:r>
              <a:rPr lang="ru-RU" sz="1600" dirty="0" smtClean="0"/>
              <a:t>РГО (</a:t>
            </a:r>
            <a:r>
              <a:rPr lang="ru-RU" sz="1600" dirty="0" err="1"/>
              <a:t>согарантия</a:t>
            </a:r>
            <a:r>
              <a:rPr lang="ru-RU" sz="1600" dirty="0"/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2525181"/>
            <a:ext cx="798521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Приоритетный клиентский </a:t>
            </a:r>
            <a:r>
              <a:rPr lang="ru-RU" b="1" kern="0" dirty="0" smtClean="0"/>
              <a:t>сегмент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3299822"/>
            <a:ext cx="6489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7" y="3344950"/>
            <a:ext cx="7985216" cy="27691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/>
              <a:t>Неторговые МСП </a:t>
            </a:r>
            <a:r>
              <a:rPr lang="ru-RU" sz="1400" kern="0" dirty="0"/>
              <a:t>прежде всего с государственными приоритетами развития </a:t>
            </a:r>
          </a:p>
        </p:txBody>
      </p:sp>
      <p:sp>
        <p:nvSpPr>
          <p:cNvPr id="35" name="Текст 2"/>
          <p:cNvSpPr txBox="1">
            <a:spLocks/>
          </p:cNvSpPr>
          <p:nvPr/>
        </p:nvSpPr>
        <p:spPr>
          <a:xfrm>
            <a:off x="7220607" y="2525181"/>
            <a:ext cx="50340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Регионы приоритетного развития МСП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220607" y="3299822"/>
            <a:ext cx="5034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370507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ельское хозяй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 производство с/х продукции)</a:t>
            </a:r>
            <a:endParaRPr lang="ru-RU" sz="1200" kern="0" dirty="0" smtClean="0">
              <a:latin typeface="+mj-lt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89915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троительство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70507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Обрабатывающее производ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. производство пищевых продуктов)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3789915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Транспорт и связь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70507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аспределение электроэнергии, газа и воды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789915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еализация импортозамещающей продукц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3584" y="4268707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Крым и </a:t>
            </a:r>
            <a:r>
              <a:rPr lang="ru-RU" sz="1600" dirty="0" smtClean="0">
                <a:latin typeface="+mj-lt"/>
                <a:cs typeface="+mn-cs"/>
              </a:rPr>
              <a:t>Севастопол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983584" y="4992549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Дальний Вост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983584" y="5716391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Северный Кавк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83584" y="6440233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Моногорода</a:t>
            </a:r>
          </a:p>
        </p:txBody>
      </p:sp>
      <p:sp>
        <p:nvSpPr>
          <p:cNvPr id="71" name="Freeform 6"/>
          <p:cNvSpPr>
            <a:spLocks noEditPoints="1"/>
          </p:cNvSpPr>
          <p:nvPr/>
        </p:nvSpPr>
        <p:spPr bwMode="auto">
          <a:xfrm>
            <a:off x="7557635" y="4288463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2" name="Freeform 6"/>
          <p:cNvSpPr>
            <a:spLocks noEditPoints="1"/>
          </p:cNvSpPr>
          <p:nvPr/>
        </p:nvSpPr>
        <p:spPr bwMode="auto">
          <a:xfrm>
            <a:off x="7557635" y="5020892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3" name="Freeform 6"/>
          <p:cNvSpPr>
            <a:spLocks noEditPoints="1"/>
          </p:cNvSpPr>
          <p:nvPr/>
        </p:nvSpPr>
        <p:spPr bwMode="auto">
          <a:xfrm>
            <a:off x="7557635" y="5744734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4" name="Freeform 6"/>
          <p:cNvSpPr>
            <a:spLocks noEditPoints="1"/>
          </p:cNvSpPr>
          <p:nvPr/>
        </p:nvSpPr>
        <p:spPr bwMode="auto">
          <a:xfrm>
            <a:off x="7557635" y="6468576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56" y="4016165"/>
            <a:ext cx="602722" cy="6027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447" y="5217809"/>
            <a:ext cx="886120" cy="7975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29" y="6859512"/>
            <a:ext cx="466807" cy="4668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rot="21004389">
            <a:off x="3890181" y="6487819"/>
            <a:ext cx="794074" cy="338554"/>
          </a:xfrm>
          <a:prstGeom prst="rect">
            <a:avLst/>
          </a:prstGeom>
          <a:ln w="34925" cmpd="thickThin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800" b="1" kern="0" dirty="0" smtClean="0"/>
              <a:t>СДЕЛАНО В РОССИИ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8" y="6492543"/>
            <a:ext cx="767413" cy="7674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13" y="5312755"/>
            <a:ext cx="702562" cy="7025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57" y="4012751"/>
            <a:ext cx="705075" cy="7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="" xmlns:a16="http://schemas.microsoft.com/office/drawing/2014/main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="" xmlns:a16="http://schemas.microsoft.com/office/drawing/2014/main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ложение 1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орядок отнесения ЮЛ и ИП к субъектам МСП в соответствии с 209-ФЗ </a:t>
            </a:r>
          </a:p>
        </p:txBody>
      </p:sp>
    </p:spTree>
    <p:extLst>
      <p:ext uri="{BB962C8B-B14F-4D97-AF65-F5344CB8AC3E}">
        <p14:creationId xmlns:p14="http://schemas.microsoft.com/office/powerpoint/2010/main" val="327576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990401"/>
              </p:ext>
            </p:extLst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42609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225281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1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31.03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3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573461" cy="541730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26</TotalTime>
  <Words>3358</Words>
  <Application>Microsoft Office PowerPoint</Application>
  <PresentationFormat>Произвольный</PresentationFormat>
  <Paragraphs>469</Paragraphs>
  <Slides>24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5" baseType="lpstr">
      <vt:lpstr>Title</vt:lpstr>
      <vt:lpstr>Финансовая поддержка субъектов МСП</vt:lpstr>
      <vt:lpstr>О Корпорации</vt:lpstr>
      <vt:lpstr>Основные задачи Корпорации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31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Приоритетные направления гарантийной поддержки Корпорации 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  <vt:lpstr>Приложение 1  Порядок отнесения ЮЛ и ИП к субъектам МСП в соответствии с 209-ФЗ 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</vt:vector>
  </TitlesOfParts>
  <Company>Deloitte &amp; Touch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Гостева Анна Николаевна</cp:lastModifiedBy>
  <cp:revision>4313</cp:revision>
  <cp:lastPrinted>2013-08-18T11:38:26Z</cp:lastPrinted>
  <dcterms:created xsi:type="dcterms:W3CDTF">2010-08-23T12:41:44Z</dcterms:created>
  <dcterms:modified xsi:type="dcterms:W3CDTF">2019-02-20T09:53:12Z</dcterms:modified>
</cp:coreProperties>
</file>